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6"/>
  </p:notesMasterIdLst>
  <p:handoutMasterIdLst>
    <p:handoutMasterId r:id="rId17"/>
  </p:handoutMasterIdLst>
  <p:sldIdLst>
    <p:sldId id="407" r:id="rId6"/>
    <p:sldId id="396" r:id="rId7"/>
    <p:sldId id="389" r:id="rId8"/>
    <p:sldId id="393" r:id="rId9"/>
    <p:sldId id="373" r:id="rId10"/>
    <p:sldId id="411" r:id="rId11"/>
    <p:sldId id="410" r:id="rId12"/>
    <p:sldId id="387" r:id="rId13"/>
    <p:sldId id="388" r:id="rId14"/>
    <p:sldId id="408" r:id="rId15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67A"/>
    <a:srgbClr val="002060"/>
    <a:srgbClr val="FDE88D"/>
    <a:srgbClr val="00266B"/>
    <a:srgbClr val="FFD88B"/>
    <a:srgbClr val="EE832A"/>
    <a:srgbClr val="FFB219"/>
    <a:srgbClr val="FFB400"/>
    <a:srgbClr val="FFDC95"/>
    <a:srgbClr val="DBE2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88" autoAdjust="0"/>
    <p:restoredTop sz="93716" autoAdjust="0"/>
  </p:normalViewPr>
  <p:slideViewPr>
    <p:cSldViewPr>
      <p:cViewPr>
        <p:scale>
          <a:sx n="80" d="100"/>
          <a:sy n="80" d="100"/>
        </p:scale>
        <p:origin x="480" y="-366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8.%20Agosto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8.%20Agosto\Elaborati%20finali\Secondi%20di%20Avvis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8.%20Agosto\Elaborati%20finali\Trend%20Fatturato%20Totale%20per%20tabel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8\08.%20Agosto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rgbClr val="33CCCC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0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2:$J$2,grafico!$O$2:$P$2)</c:f>
              <c:numCache>
                <c:formatCode>0.0%</c:formatCode>
                <c:ptCount val="11"/>
                <c:pt idx="0">
                  <c:v>1.99347816562455E-3</c:v>
                </c:pt>
                <c:pt idx="1">
                  <c:v>1.3128636256598278E-2</c:v>
                </c:pt>
                <c:pt idx="2">
                  <c:v>6.3366514137412925E-3</c:v>
                </c:pt>
                <c:pt idx="3">
                  <c:v>1.0353951464576135E-2</c:v>
                </c:pt>
                <c:pt idx="4">
                  <c:v>1.4059612488638613E-2</c:v>
                </c:pt>
                <c:pt idx="5">
                  <c:v>8.0094082693736076E-3</c:v>
                </c:pt>
                <c:pt idx="6">
                  <c:v>6.9172902028564968E-3</c:v>
                </c:pt>
                <c:pt idx="7">
                  <c:v>2.8429945127366966E-3</c:v>
                </c:pt>
                <c:pt idx="8">
                  <c:v>0</c:v>
                </c:pt>
                <c:pt idx="9">
                  <c:v>1.0463458135040082E-2</c:v>
                </c:pt>
                <c:pt idx="10">
                  <c:v>8.4909005427342525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4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8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7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2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7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4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5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3:$J$3,grafico!$O$3:$P$3)</c:f>
              <c:numCache>
                <c:formatCode>0.0%</c:formatCode>
                <c:ptCount val="11"/>
                <c:pt idx="0">
                  <c:v>0.11679215877724994</c:v>
                </c:pt>
                <c:pt idx="1">
                  <c:v>0.12124757915028549</c:v>
                </c:pt>
                <c:pt idx="2">
                  <c:v>0.12418257410189865</c:v>
                </c:pt>
                <c:pt idx="3">
                  <c:v>0.14034505513300463</c:v>
                </c:pt>
                <c:pt idx="4">
                  <c:v>0.18301928217443095</c:v>
                </c:pt>
                <c:pt idx="5">
                  <c:v>0.17540696954691756</c:v>
                </c:pt>
                <c:pt idx="6">
                  <c:v>0.21299153566223986</c:v>
                </c:pt>
                <c:pt idx="7">
                  <c:v>0.17203209217628998</c:v>
                </c:pt>
                <c:pt idx="8">
                  <c:v>0</c:v>
                </c:pt>
                <c:pt idx="9">
                  <c:v>0.14730261427028393</c:v>
                </c:pt>
                <c:pt idx="10">
                  <c:v>0.15648846494358776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3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5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4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11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1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4:$J$4,grafico!$O$4:$P$4)</c:f>
              <c:numCache>
                <c:formatCode>0.0%</c:formatCode>
                <c:ptCount val="11"/>
                <c:pt idx="0">
                  <c:v>0.13868286485031703</c:v>
                </c:pt>
                <c:pt idx="1">
                  <c:v>0.13467414059212382</c:v>
                </c:pt>
                <c:pt idx="2">
                  <c:v>0.13194598586258707</c:v>
                </c:pt>
                <c:pt idx="3">
                  <c:v>0.15331302195747376</c:v>
                </c:pt>
                <c:pt idx="4">
                  <c:v>0.14212860613606523</c:v>
                </c:pt>
                <c:pt idx="5">
                  <c:v>0.12735722538582156</c:v>
                </c:pt>
                <c:pt idx="6">
                  <c:v>0.14447659445584807</c:v>
                </c:pt>
                <c:pt idx="7">
                  <c:v>0.11219892039209801</c:v>
                </c:pt>
                <c:pt idx="8">
                  <c:v>0</c:v>
                </c:pt>
                <c:pt idx="9">
                  <c:v>0.13441791956224652</c:v>
                </c:pt>
                <c:pt idx="10">
                  <c:v>0.13701198153463939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2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8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4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8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62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7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68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68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5:$J$5,grafico!$O$5:$P$5)</c:f>
              <c:numCache>
                <c:formatCode>0.0%</c:formatCode>
                <c:ptCount val="11"/>
                <c:pt idx="0">
                  <c:v>0.73382215796358541</c:v>
                </c:pt>
                <c:pt idx="1">
                  <c:v>0.71963845101488866</c:v>
                </c:pt>
                <c:pt idx="2">
                  <c:v>0.71937534148340387</c:v>
                </c:pt>
                <c:pt idx="3">
                  <c:v>0.68582292343411166</c:v>
                </c:pt>
                <c:pt idx="4">
                  <c:v>0.64658015457421147</c:v>
                </c:pt>
                <c:pt idx="5">
                  <c:v>0.6810674052983412</c:v>
                </c:pt>
                <c:pt idx="6">
                  <c:v>0.62935433434363142</c:v>
                </c:pt>
                <c:pt idx="7">
                  <c:v>0.71040542075102098</c:v>
                </c:pt>
                <c:pt idx="8">
                  <c:v>0</c:v>
                </c:pt>
                <c:pt idx="9">
                  <c:v>0.68622177277505236</c:v>
                </c:pt>
                <c:pt idx="10">
                  <c:v>0.68747248343974787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0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2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mtClean="0"/>
                      <a:t>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6:$J$6,grafico!$O$6:$P$6)</c:f>
              <c:numCache>
                <c:formatCode>0.0%</c:formatCode>
                <c:ptCount val="11"/>
                <c:pt idx="0">
                  <c:v>8.709340243223113E-3</c:v>
                </c:pt>
                <c:pt idx="1">
                  <c:v>1.1311192986103799E-2</c:v>
                </c:pt>
                <c:pt idx="2">
                  <c:v>1.8159447138369075E-2</c:v>
                </c:pt>
                <c:pt idx="3">
                  <c:v>1.0165048010833868E-2</c:v>
                </c:pt>
                <c:pt idx="4">
                  <c:v>1.4212344626653771E-2</c:v>
                </c:pt>
                <c:pt idx="5">
                  <c:v>8.1589914995460928E-3</c:v>
                </c:pt>
                <c:pt idx="6">
                  <c:v>6.2602453354241531E-3</c:v>
                </c:pt>
                <c:pt idx="7">
                  <c:v>2.5205721678542895E-3</c:v>
                </c:pt>
                <c:pt idx="8">
                  <c:v>0</c:v>
                </c:pt>
                <c:pt idx="9">
                  <c:v>2.1594235257377067E-2</c:v>
                </c:pt>
                <c:pt idx="10">
                  <c:v>1.0536169539290732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65856384"/>
        <c:axId val="168862848"/>
      </c:barChart>
      <c:catAx>
        <c:axId val="1658563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8862848"/>
        <c:crosses val="autoZero"/>
        <c:auto val="1"/>
        <c:lblAlgn val="ctr"/>
        <c:lblOffset val="100"/>
        <c:noMultiLvlLbl val="0"/>
      </c:catAx>
      <c:valAx>
        <c:axId val="16886284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65856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12877450180866E-2"/>
          <c:y val="6.1840498448842998E-2"/>
          <c:w val="0.92252781605826306"/>
          <c:h val="0.765865019027872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trend storico'!$C$30</c:f>
              <c:strCache>
                <c:ptCount val="1"/>
                <c:pt idx="0">
                  <c:v>&lt; 15" - Nazion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5.9738842477609693E-3"/>
                  <c:y val="4.5080669550882939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C$31:$C$37</c:f>
              <c:numCache>
                <c:formatCode>0%</c:formatCode>
                <c:ptCount val="7"/>
                <c:pt idx="0">
                  <c:v>8.664456845550287E-3</c:v>
                </c:pt>
                <c:pt idx="1">
                  <c:v>8.570722345811705E-3</c:v>
                </c:pt>
                <c:pt idx="2">
                  <c:v>5.0372485062257794E-3</c:v>
                </c:pt>
                <c:pt idx="3">
                  <c:v>1.8274460603029258E-2</c:v>
                </c:pt>
                <c:pt idx="4">
                  <c:v>1.4149602101846404E-2</c:v>
                </c:pt>
                <c:pt idx="5">
                  <c:v>9.0046959638865869E-3</c:v>
                </c:pt>
                <c:pt idx="6">
                  <c:v>2.8429945127366966E-3</c:v>
                </c:pt>
              </c:numCache>
            </c:numRef>
          </c:val>
        </c:ser>
        <c:ser>
          <c:idx val="1"/>
          <c:order val="1"/>
          <c:tx>
            <c:strRef>
              <c:f>'trend storico'!$D$30</c:f>
              <c:strCache>
                <c:ptCount val="1"/>
                <c:pt idx="0">
                  <c:v>15" - Nazionale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5.9738842477609693E-3"/>
                  <c:y val="-9.0161339101767542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D$31:$D$37</c:f>
              <c:numCache>
                <c:formatCode>0%</c:formatCode>
                <c:ptCount val="7"/>
                <c:pt idx="0">
                  <c:v>0.1344511811354005</c:v>
                </c:pt>
                <c:pt idx="1">
                  <c:v>0.18240557902367086</c:v>
                </c:pt>
                <c:pt idx="2">
                  <c:v>0.17283837746332659</c:v>
                </c:pt>
                <c:pt idx="3">
                  <c:v>0.17001325876384729</c:v>
                </c:pt>
                <c:pt idx="4">
                  <c:v>1.1456551992896684E-2</c:v>
                </c:pt>
                <c:pt idx="5">
                  <c:v>0.17701847693387116</c:v>
                </c:pt>
                <c:pt idx="6">
                  <c:v>0.17203209217628998</c:v>
                </c:pt>
              </c:numCache>
            </c:numRef>
          </c:val>
        </c:ser>
        <c:ser>
          <c:idx val="2"/>
          <c:order val="2"/>
          <c:tx>
            <c:strRef>
              <c:f>'trend storico'!$E$30</c:f>
              <c:strCache>
                <c:ptCount val="1"/>
                <c:pt idx="0">
                  <c:v>20" - Nazional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E$31:$E$37</c:f>
              <c:numCache>
                <c:formatCode>0%</c:formatCode>
                <c:ptCount val="7"/>
                <c:pt idx="0">
                  <c:v>6.6530650778332562E-2</c:v>
                </c:pt>
                <c:pt idx="1">
                  <c:v>9.667752587741589E-2</c:v>
                </c:pt>
                <c:pt idx="2">
                  <c:v>0.13993995411031221</c:v>
                </c:pt>
                <c:pt idx="3">
                  <c:v>0.11288810525418685</c:v>
                </c:pt>
                <c:pt idx="4">
                  <c:v>0.17471558618592026</c:v>
                </c:pt>
                <c:pt idx="5">
                  <c:v>0.12718884025318236</c:v>
                </c:pt>
                <c:pt idx="6">
                  <c:v>0.11219892039209801</c:v>
                </c:pt>
              </c:numCache>
            </c:numRef>
          </c:val>
        </c:ser>
        <c:ser>
          <c:idx val="3"/>
          <c:order val="3"/>
          <c:tx>
            <c:strRef>
              <c:f>'trend storico'!$F$30</c:f>
              <c:strCache>
                <c:ptCount val="1"/>
                <c:pt idx="0">
                  <c:v>25" e 30" - Nazionale</c:v>
                </c:pt>
              </c:strCache>
            </c:strRef>
          </c:tx>
          <c:spPr>
            <a:solidFill>
              <a:srgbClr val="00467A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6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7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6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F$31:$F$37</c:f>
              <c:numCache>
                <c:formatCode>0%</c:formatCode>
                <c:ptCount val="7"/>
                <c:pt idx="0">
                  <c:v>0.78063242143246758</c:v>
                </c:pt>
                <c:pt idx="1">
                  <c:v>0.69673501581667652</c:v>
                </c:pt>
                <c:pt idx="2">
                  <c:v>0.66576912414399214</c:v>
                </c:pt>
                <c:pt idx="3">
                  <c:v>0.63473782156693714</c:v>
                </c:pt>
                <c:pt idx="4">
                  <c:v>0.76339812231041526</c:v>
                </c:pt>
                <c:pt idx="5">
                  <c:v>0.66777751976158473</c:v>
                </c:pt>
                <c:pt idx="6">
                  <c:v>0.71040542075102098</c:v>
                </c:pt>
              </c:numCache>
            </c:numRef>
          </c:val>
        </c:ser>
        <c:ser>
          <c:idx val="4"/>
          <c:order val="4"/>
          <c:tx>
            <c:strRef>
              <c:f>'trend storico'!$G$30</c:f>
              <c:strCache>
                <c:ptCount val="1"/>
                <c:pt idx="0">
                  <c:v>&gt; 30" - Naziona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1.9798687362617379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1.7523191364030227E-16"/>
                  <c:y val="-6.5995624542057969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1:$B$37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G$31:$G$37</c:f>
              <c:numCache>
                <c:formatCode>0%</c:formatCode>
                <c:ptCount val="7"/>
                <c:pt idx="0">
                  <c:v>9.7212898082490659E-3</c:v>
                </c:pt>
                <c:pt idx="1">
                  <c:v>1.5611156936425015E-2</c:v>
                </c:pt>
                <c:pt idx="2">
                  <c:v>1.6415295776143261E-2</c:v>
                </c:pt>
                <c:pt idx="3">
                  <c:v>6.4086353811999397E-2</c:v>
                </c:pt>
                <c:pt idx="4">
                  <c:v>3.6280137408921442E-2</c:v>
                </c:pt>
                <c:pt idx="5">
                  <c:v>1.9010467087475169E-2</c:v>
                </c:pt>
                <c:pt idx="6">
                  <c:v>2.5205721678542895E-3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9082232"/>
        <c:axId val="193348120"/>
      </c:barChart>
      <c:catAx>
        <c:axId val="169082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3348120"/>
        <c:crosses val="autoZero"/>
        <c:auto val="1"/>
        <c:lblAlgn val="ctr"/>
        <c:lblOffset val="100"/>
        <c:noMultiLvlLbl val="0"/>
      </c:catAx>
      <c:valAx>
        <c:axId val="193348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69082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4.0890032036096896E-2"/>
          <c:w val="0.92395959226026991"/>
          <c:h val="0.7584879811965749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5">
                  <a:lumMod val="25000"/>
                </a:schemeClr>
              </a:solidFill>
              <a:round/>
            </a:ln>
            <a:effectLst/>
          </c:spPr>
          <c:marker>
            <c:symbol val="none"/>
          </c:marker>
          <c:trendline>
            <c:spPr>
              <a:ln w="31750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41</c:f>
              <c:strCache>
                <c:ptCount val="140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  <c:pt idx="132">
                  <c:v>Gennaio</c:v>
                </c:pt>
                <c:pt idx="133">
                  <c:v>Febbraio</c:v>
                </c:pt>
                <c:pt idx="134">
                  <c:v>Marzo</c:v>
                </c:pt>
                <c:pt idx="135">
                  <c:v>Aprile</c:v>
                </c:pt>
                <c:pt idx="136">
                  <c:v>Maggio</c:v>
                </c:pt>
                <c:pt idx="137">
                  <c:v>Giugno</c:v>
                </c:pt>
                <c:pt idx="138">
                  <c:v>Luglio</c:v>
                </c:pt>
                <c:pt idx="139">
                  <c:v>Agosto</c:v>
                </c:pt>
              </c:strCache>
            </c:strRef>
          </c:cat>
          <c:val>
            <c:numRef>
              <c:f>mensile!$D$2:$D$141</c:f>
              <c:numCache>
                <c:formatCode>#,##0</c:formatCode>
                <c:ptCount val="140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29</c:v>
                </c:pt>
                <c:pt idx="109">
                  <c:v>25755</c:v>
                </c:pt>
                <c:pt idx="110">
                  <c:v>29638</c:v>
                </c:pt>
                <c:pt idx="111">
                  <c:v>26617</c:v>
                </c:pt>
                <c:pt idx="112">
                  <c:v>31781</c:v>
                </c:pt>
                <c:pt idx="113">
                  <c:v>30602</c:v>
                </c:pt>
                <c:pt idx="114">
                  <c:v>30426</c:v>
                </c:pt>
                <c:pt idx="115">
                  <c:v>12086</c:v>
                </c:pt>
                <c:pt idx="116">
                  <c:v>25578</c:v>
                </c:pt>
                <c:pt idx="117">
                  <c:v>32325</c:v>
                </c:pt>
                <c:pt idx="118">
                  <c:v>34046</c:v>
                </c:pt>
                <c:pt idx="119">
                  <c:v>28769</c:v>
                </c:pt>
                <c:pt idx="120">
                  <c:v>19971</c:v>
                </c:pt>
                <c:pt idx="121">
                  <c:v>24839</c:v>
                </c:pt>
                <c:pt idx="122">
                  <c:v>29742</c:v>
                </c:pt>
                <c:pt idx="123">
                  <c:v>27477</c:v>
                </c:pt>
                <c:pt idx="124">
                  <c:v>36458</c:v>
                </c:pt>
                <c:pt idx="125">
                  <c:v>33325</c:v>
                </c:pt>
                <c:pt idx="126">
                  <c:v>28861</c:v>
                </c:pt>
                <c:pt idx="127">
                  <c:v>12021</c:v>
                </c:pt>
                <c:pt idx="128">
                  <c:v>28575</c:v>
                </c:pt>
                <c:pt idx="129">
                  <c:v>37041</c:v>
                </c:pt>
                <c:pt idx="130">
                  <c:v>37053</c:v>
                </c:pt>
                <c:pt idx="131">
                  <c:v>28956</c:v>
                </c:pt>
                <c:pt idx="132">
                  <c:v>21015</c:v>
                </c:pt>
                <c:pt idx="133">
                  <c:v>26071</c:v>
                </c:pt>
                <c:pt idx="134">
                  <c:v>32717</c:v>
                </c:pt>
                <c:pt idx="135">
                  <c:v>32521</c:v>
                </c:pt>
                <c:pt idx="136">
                  <c:v>35562</c:v>
                </c:pt>
                <c:pt idx="137">
                  <c:v>35621</c:v>
                </c:pt>
                <c:pt idx="138">
                  <c:v>28299</c:v>
                </c:pt>
                <c:pt idx="139">
                  <c:v>1421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3401824"/>
        <c:axId val="193406304"/>
      </c:lineChart>
      <c:catAx>
        <c:axId val="193401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5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3406304"/>
        <c:crosses val="autoZero"/>
        <c:auto val="1"/>
        <c:lblAlgn val="ctr"/>
        <c:lblOffset val="100"/>
        <c:noMultiLvlLbl val="0"/>
      </c:catAx>
      <c:valAx>
        <c:axId val="193406304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934018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102864"/>
        <c:axId val="168103256"/>
      </c:lineChart>
      <c:catAx>
        <c:axId val="168102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68103256"/>
        <c:crosses val="autoZero"/>
        <c:auto val="1"/>
        <c:lblAlgn val="ctr"/>
        <c:lblOffset val="100"/>
        <c:noMultiLvlLbl val="0"/>
      </c:catAx>
      <c:valAx>
        <c:axId val="16810325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1681028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50600580614786E-2"/>
          <c:y val="2.2200729699525509E-2"/>
          <c:w val="0.92183053959687711"/>
          <c:h val="0.82233297606356082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41</c:f>
              <c:strCache>
                <c:ptCount val="129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  <c:pt idx="125">
                  <c:v>Maggio</c:v>
                </c:pt>
                <c:pt idx="126">
                  <c:v>Giugno</c:v>
                </c:pt>
                <c:pt idx="127">
                  <c:v>Luglio</c:v>
                </c:pt>
                <c:pt idx="128">
                  <c:v>Agosto</c:v>
                </c:pt>
              </c:strCache>
            </c:strRef>
          </c:tx>
          <c:spPr>
            <a:ln>
              <a:solidFill>
                <a:srgbClr val="002060"/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41</c:f>
              <c:strCache>
                <c:ptCount val="129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  <c:pt idx="123">
                  <c:v>Marzo</c:v>
                </c:pt>
                <c:pt idx="124">
                  <c:v>Aprile</c:v>
                </c:pt>
                <c:pt idx="125">
                  <c:v>Maggio</c:v>
                </c:pt>
                <c:pt idx="126">
                  <c:v>Giugno</c:v>
                </c:pt>
                <c:pt idx="127">
                  <c:v>Luglio</c:v>
                </c:pt>
                <c:pt idx="128">
                  <c:v>Agosto</c:v>
                </c:pt>
              </c:strCache>
            </c:strRef>
          </c:cat>
          <c:val>
            <c:numRef>
              <c:f>mensile!$E$13:$E$141</c:f>
              <c:numCache>
                <c:formatCode>#,##0</c:formatCode>
                <c:ptCount val="129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333333333332</c:v>
                </c:pt>
                <c:pt idx="98">
                  <c:v>26703.75</c:v>
                </c:pt>
                <c:pt idx="99">
                  <c:v>26731.333333333332</c:v>
                </c:pt>
                <c:pt idx="100">
                  <c:v>26808.666666666668</c:v>
                </c:pt>
                <c:pt idx="101">
                  <c:v>26839.083333333332</c:v>
                </c:pt>
                <c:pt idx="102">
                  <c:v>26712.166666666668</c:v>
                </c:pt>
                <c:pt idx="103">
                  <c:v>26779.75</c:v>
                </c:pt>
                <c:pt idx="104">
                  <c:v>26846</c:v>
                </c:pt>
                <c:pt idx="105">
                  <c:v>26744.333333333332</c:v>
                </c:pt>
                <c:pt idx="106">
                  <c:v>26669</c:v>
                </c:pt>
                <c:pt idx="107">
                  <c:v>26925.166666666668</c:v>
                </c:pt>
                <c:pt idx="108">
                  <c:v>27237.666666666668</c:v>
                </c:pt>
                <c:pt idx="109">
                  <c:v>27299.5</c:v>
                </c:pt>
                <c:pt idx="110">
                  <c:v>27223.166666666668</c:v>
                </c:pt>
                <c:pt idx="111">
                  <c:v>27231.833333333332</c:v>
                </c:pt>
                <c:pt idx="112">
                  <c:v>27303.5</c:v>
                </c:pt>
                <c:pt idx="113">
                  <c:v>27693.25</c:v>
                </c:pt>
                <c:pt idx="114">
                  <c:v>27920.166666666668</c:v>
                </c:pt>
                <c:pt idx="115">
                  <c:v>27789.75</c:v>
                </c:pt>
                <c:pt idx="116">
                  <c:v>27784.333333333332</c:v>
                </c:pt>
                <c:pt idx="117">
                  <c:v>28034.083333333332</c:v>
                </c:pt>
                <c:pt idx="118">
                  <c:v>28427.083333333332</c:v>
                </c:pt>
                <c:pt idx="119">
                  <c:v>28677.666666666668</c:v>
                </c:pt>
                <c:pt idx="120">
                  <c:v>28693.25</c:v>
                </c:pt>
                <c:pt idx="121">
                  <c:v>28780.25</c:v>
                </c:pt>
                <c:pt idx="122">
                  <c:v>28882.916666666668</c:v>
                </c:pt>
                <c:pt idx="123">
                  <c:v>29130.833333333332</c:v>
                </c:pt>
                <c:pt idx="124">
                  <c:v>29551.166666666668</c:v>
                </c:pt>
                <c:pt idx="125">
                  <c:v>29476.5</c:v>
                </c:pt>
                <c:pt idx="126">
                  <c:v>29667.833333333332</c:v>
                </c:pt>
                <c:pt idx="127">
                  <c:v>29621</c:v>
                </c:pt>
                <c:pt idx="128">
                  <c:v>29803.41666666666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104040"/>
        <c:axId val="193572848"/>
      </c:lineChart>
      <c:catAx>
        <c:axId val="168104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9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93572848"/>
        <c:crosses val="autoZero"/>
        <c:auto val="0"/>
        <c:lblAlgn val="ctr"/>
        <c:lblOffset val="100"/>
        <c:noMultiLvlLbl val="0"/>
      </c:catAx>
      <c:valAx>
        <c:axId val="193572848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16810404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21236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76936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AGOSTO 2018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6 settembre 2018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0797125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2017 – Agost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MC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Sport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MEDIAMOND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4019154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2017 – Agost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6868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Extra Tabellar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in 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625038"/>
              </p:ext>
            </p:extLst>
          </p:nvPr>
        </p:nvGraphicFramePr>
        <p:xfrm>
          <a:off x="74222" y="1027297"/>
          <a:ext cx="11953328" cy="4939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.1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5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.6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7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5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29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.21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.0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7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3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2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4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8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6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1663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 Tabellare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otale Avvisi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4766926"/>
              </p:ext>
            </p:extLst>
          </p:nvPr>
        </p:nvGraphicFramePr>
        <p:xfrm>
          <a:off x="74222" y="1027297"/>
          <a:ext cx="11953328" cy="4865230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95705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.7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77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4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.2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5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3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8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8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.20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.8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.2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71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6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0.4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.7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9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4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90.72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1143545"/>
              </p:ext>
            </p:extLst>
          </p:nvPr>
        </p:nvGraphicFramePr>
        <p:xfrm>
          <a:off x="150277" y="836712"/>
          <a:ext cx="11891446" cy="522884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9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6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4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8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18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0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6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6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8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.7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8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2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1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8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5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.9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3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7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6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3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4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50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6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9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59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3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1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2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9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0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8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8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Ago. 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90.72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4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3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.6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2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.7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8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.18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6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8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uppo 2"/>
          <p:cNvGrpSpPr/>
          <p:nvPr/>
        </p:nvGrpSpPr>
        <p:grpSpPr>
          <a:xfrm>
            <a:off x="1" y="961323"/>
            <a:ext cx="12192000" cy="5750704"/>
            <a:chOff x="1" y="961323"/>
            <a:chExt cx="12192000" cy="5750704"/>
          </a:xfrm>
        </p:grpSpPr>
        <p:sp>
          <p:nvSpPr>
            <p:cNvPr id="2" name="Rettangolo 1"/>
            <p:cNvSpPr/>
            <p:nvPr/>
          </p:nvSpPr>
          <p:spPr>
            <a:xfrm>
              <a:off x="348543" y="6465806"/>
              <a:ext cx="7374613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t-IT" sz="1000" i="1" dirty="0" smtClean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N.B. I dati riportati nel grafico si riferiscono ai dati presenti nella tavola III del report</a:t>
              </a:r>
              <a:endParaRPr lang="it-IT" sz="1000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90308" y="980162"/>
              <a:ext cx="1188000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</a:rPr>
                <a:t>Gennaio 2018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</a:rPr>
                <a:t>2.556.336</a:t>
              </a:r>
              <a:endParaRPr lang="it-IT" sz="12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CasellaDiTesto 10"/>
            <p:cNvSpPr txBox="1"/>
            <p:nvPr/>
          </p:nvSpPr>
          <p:spPr>
            <a:xfrm>
              <a:off x="10980649" y="961323"/>
              <a:ext cx="1080000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</a:t>
              </a: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6.234.202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9" name="CasellaDiTesto 8"/>
            <p:cNvSpPr txBox="1"/>
            <p:nvPr/>
          </p:nvSpPr>
          <p:spPr>
            <a:xfrm>
              <a:off x="9907951" y="961324"/>
              <a:ext cx="1078246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200" dirty="0" err="1" smtClean="0">
                  <a:solidFill>
                    <a:schemeClr val="bg1">
                      <a:lumMod val="50000"/>
                    </a:schemeClr>
                  </a:solidFill>
                </a:rPr>
                <a:t>Prog</a:t>
              </a: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</a:rPr>
                <a:t>. 2017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</a:rPr>
                <a:t>24.713.818</a:t>
              </a:r>
              <a:endParaRPr lang="it-IT" sz="12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1169986" y="973661"/>
              <a:ext cx="1224000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bra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010.823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2337752" y="965612"/>
              <a:ext cx="1080000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z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748.352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3417310" y="965540"/>
              <a:ext cx="1080000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rile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917.345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" name="CasellaDiTesto 12"/>
            <p:cNvSpPr txBox="1"/>
            <p:nvPr/>
          </p:nvSpPr>
          <p:spPr>
            <a:xfrm>
              <a:off x="4468402" y="968442"/>
              <a:ext cx="1116000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gg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876.067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5534008" y="968442"/>
              <a:ext cx="1116000" cy="723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iugn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877.440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" name="CasellaDiTesto 16"/>
            <p:cNvSpPr txBox="1"/>
            <p:nvPr/>
          </p:nvSpPr>
          <p:spPr>
            <a:xfrm>
              <a:off x="6600176" y="974835"/>
              <a:ext cx="1116000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ugl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275.271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" name="CasellaDiTesto 14"/>
            <p:cNvSpPr txBox="1"/>
            <p:nvPr/>
          </p:nvSpPr>
          <p:spPr>
            <a:xfrm>
              <a:off x="7572232" y="961325"/>
              <a:ext cx="1296000" cy="5386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ost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2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972.568</a:t>
              </a:r>
              <a:endParaRPr lang="it-IT" sz="12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graphicFrame>
          <p:nvGraphicFramePr>
            <p:cNvPr id="21" name="Grafico 2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173918405"/>
                </p:ext>
              </p:extLst>
            </p:nvPr>
          </p:nvGraphicFramePr>
          <p:xfrm>
            <a:off x="1" y="1656330"/>
            <a:ext cx="12192000" cy="45089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35796930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storico del peso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% delle diverse tipologie di avvisi, sulla base della durata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d Agosto di ciascun anno </a:t>
            </a:r>
            <a:r>
              <a:rPr lang="it-IT" altLang="it-IT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348543" y="6465806"/>
            <a:ext cx="999592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N.B. I dati riportati nel grafico si riferiscono ai dati presenti nella tavola III del report di ciascun anno considerato</a:t>
            </a:r>
            <a:endParaRPr lang="it-IT" sz="1000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1084635"/>
              </p:ext>
            </p:extLst>
          </p:nvPr>
        </p:nvGraphicFramePr>
        <p:xfrm>
          <a:off x="781200" y="692696"/>
          <a:ext cx="10629600" cy="57731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6395966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5" grpId="0"/>
      <p:bldGraphic spid="7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07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gosto 2018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ttangolo 24"/>
          <p:cNvSpPr/>
          <p:nvPr/>
        </p:nvSpPr>
        <p:spPr>
          <a:xfrm>
            <a:off x="348543" y="6465806"/>
            <a:ext cx="11580105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000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N.B. I dati riportati nel grafico si riferiscono a dati di fatturato totale presenti nella tavola I del report di ciascun anno considerato</a:t>
            </a:r>
            <a:endParaRPr lang="it-IT" sz="1000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371364" y="1054107"/>
            <a:ext cx="11449272" cy="5885854"/>
            <a:chOff x="348543" y="1054107"/>
            <a:chExt cx="11374470" cy="5885854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6612790" y="1429670"/>
              <a:ext cx="903600" cy="4352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2943253" y="1429836"/>
              <a:ext cx="903600" cy="4352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1113973" y="1430664"/>
              <a:ext cx="903600" cy="4352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4773947" y="1429838"/>
              <a:ext cx="903600" cy="4352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1143549" y="1056079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437460" y="1429306"/>
              <a:ext cx="903600" cy="4352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54" name="Rettangolo 53"/>
            <p:cNvSpPr/>
            <p:nvPr/>
          </p:nvSpPr>
          <p:spPr bwMode="auto">
            <a:xfrm>
              <a:off x="10267417" y="1429068"/>
              <a:ext cx="903600" cy="43524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069025" y="1057745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2966550" y="105856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786798" y="105856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3904137" y="1057411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5721846" y="1055529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6631078" y="105870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7558385" y="1057457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471590" y="1059202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383088" y="1054107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284399" y="1055728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CasellaDiTesto 28"/>
            <p:cNvSpPr txBox="1"/>
            <p:nvPr/>
          </p:nvSpPr>
          <p:spPr>
            <a:xfrm>
              <a:off x="11219013" y="1054107"/>
              <a:ext cx="504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</a:p>
          </p:txBody>
        </p:sp>
        <p:graphicFrame>
          <p:nvGraphicFramePr>
            <p:cNvPr id="26" name="Grafico 2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38543059"/>
                </p:ext>
              </p:extLst>
            </p:nvPr>
          </p:nvGraphicFramePr>
          <p:xfrm>
            <a:off x="348543" y="1196752"/>
            <a:ext cx="11296008" cy="574320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  <p:bldP spid="2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gosto 2018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Gruppo 3"/>
          <p:cNvGrpSpPr/>
          <p:nvPr/>
        </p:nvGrpSpPr>
        <p:grpSpPr>
          <a:xfrm>
            <a:off x="412572" y="1187964"/>
            <a:ext cx="11366856" cy="5507879"/>
            <a:chOff x="489784" y="1187964"/>
            <a:chExt cx="11366856" cy="5507879"/>
          </a:xfrm>
        </p:grpSpPr>
        <p:graphicFrame>
          <p:nvGraphicFramePr>
            <p:cNvPr id="40" name="Grafico 3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576194730"/>
                </p:ext>
              </p:extLst>
            </p:nvPr>
          </p:nvGraphicFramePr>
          <p:xfrm>
            <a:off x="793552" y="1574826"/>
            <a:ext cx="10799572" cy="4774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5" name="Rettangolo 24"/>
            <p:cNvSpPr/>
            <p:nvPr/>
          </p:nvSpPr>
          <p:spPr bwMode="auto">
            <a:xfrm>
              <a:off x="7134312" y="1576957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0" name="Rettangolo 29"/>
            <p:cNvSpPr/>
            <p:nvPr/>
          </p:nvSpPr>
          <p:spPr bwMode="auto">
            <a:xfrm>
              <a:off x="3153626" y="1573950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1" name="Rettangolo 30"/>
            <p:cNvSpPr/>
            <p:nvPr/>
          </p:nvSpPr>
          <p:spPr bwMode="auto">
            <a:xfrm>
              <a:off x="1172581" y="1574778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2" name="Rettangolo 31"/>
            <p:cNvSpPr/>
            <p:nvPr/>
          </p:nvSpPr>
          <p:spPr bwMode="auto">
            <a:xfrm>
              <a:off x="5145610" y="1573952"/>
              <a:ext cx="9972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1202520" y="1189936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ttangolo 33"/>
            <p:cNvSpPr/>
            <p:nvPr/>
          </p:nvSpPr>
          <p:spPr bwMode="auto">
            <a:xfrm>
              <a:off x="9123130" y="1579768"/>
              <a:ext cx="9936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1" name="Rettangolo 40"/>
            <p:cNvSpPr/>
            <p:nvPr/>
          </p:nvSpPr>
          <p:spPr bwMode="auto">
            <a:xfrm>
              <a:off x="11097907" y="1579939"/>
              <a:ext cx="468000" cy="43092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219436" y="1191602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46" name="CasellaDiTesto 45"/>
            <p:cNvSpPr txBox="1"/>
            <p:nvPr/>
          </p:nvSpPr>
          <p:spPr>
            <a:xfrm>
              <a:off x="3190621" y="1192421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asellaDiTesto 46"/>
            <p:cNvSpPr txBox="1"/>
            <p:nvPr/>
          </p:nvSpPr>
          <p:spPr>
            <a:xfrm>
              <a:off x="5177239" y="1192421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4197423" y="1191268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49" name="CasellaDiTesto 48"/>
            <p:cNvSpPr txBox="1"/>
            <p:nvPr/>
          </p:nvSpPr>
          <p:spPr>
            <a:xfrm>
              <a:off x="6181502" y="1189386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50" name="CasellaDiTesto 49"/>
            <p:cNvSpPr txBox="1"/>
            <p:nvPr/>
          </p:nvSpPr>
          <p:spPr>
            <a:xfrm>
              <a:off x="7154869" y="1192561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CasellaDiTesto 50"/>
            <p:cNvSpPr txBox="1"/>
            <p:nvPr/>
          </p:nvSpPr>
          <p:spPr>
            <a:xfrm>
              <a:off x="8169806" y="1191314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52" name="CasellaDiTesto 51"/>
            <p:cNvSpPr txBox="1"/>
            <p:nvPr/>
          </p:nvSpPr>
          <p:spPr>
            <a:xfrm>
              <a:off x="9139526" y="119305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asellaDiTesto 52"/>
            <p:cNvSpPr txBox="1"/>
            <p:nvPr/>
          </p:nvSpPr>
          <p:spPr>
            <a:xfrm>
              <a:off x="10132304" y="1187964"/>
              <a:ext cx="936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54" name="CasellaDiTesto 53"/>
            <p:cNvSpPr txBox="1"/>
            <p:nvPr/>
          </p:nvSpPr>
          <p:spPr>
            <a:xfrm>
              <a:off x="11124808" y="1187964"/>
              <a:ext cx="521402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4" name="Grafico 2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04003848"/>
                </p:ext>
              </p:extLst>
            </p:nvPr>
          </p:nvGraphicFramePr>
          <p:xfrm>
            <a:off x="489784" y="1449574"/>
            <a:ext cx="11366856" cy="52462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7549</TotalTime>
  <Words>1013</Words>
  <Application>Microsoft Office PowerPoint</Application>
  <PresentationFormat>Widescreen</PresentationFormat>
  <Paragraphs>766</Paragraphs>
  <Slides>10</Slides>
  <Notes>5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2057</cp:revision>
  <cp:lastPrinted>2018-09-17T13:10:01Z</cp:lastPrinted>
  <dcterms:created xsi:type="dcterms:W3CDTF">2006-03-29T09:09:15Z</dcterms:created>
  <dcterms:modified xsi:type="dcterms:W3CDTF">2018-09-18T08:21:57Z</dcterms:modified>
</cp:coreProperties>
</file>